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94487510766579E-2"/>
          <c:y val="9.0472673559822747E-2"/>
          <c:w val="0.95521102497846688"/>
          <c:h val="0.8190546528803545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BC4-4786-B2BB-B853BCDC5457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BC4-4786-B2BB-B853BCDC5457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BC4-4786-B2BB-B853BCDC5457}"/>
              </c:ext>
            </c:extLst>
          </c:dPt>
          <c:dLbls>
            <c:dLbl>
              <c:idx val="0"/>
              <c:layout>
                <c:manualLayout>
                  <c:x val="1.0335917312661499E-2"/>
                  <c:y val="2.584933530280649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C4-4786-B2BB-B853BCDC5457}"/>
                </c:ext>
              </c:extLst>
            </c:dLbl>
            <c:dLbl>
              <c:idx val="1"/>
              <c:layout>
                <c:manualLayout>
                  <c:x val="-1.0766580534022395E-2"/>
                  <c:y val="2.584933530280649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C4-4786-B2BB-B853BCDC5457}"/>
                </c:ext>
              </c:extLst>
            </c:dLbl>
            <c:dLbl>
              <c:idx val="2"/>
              <c:layout>
                <c:manualLayout>
                  <c:x val="-9.905254091300603E-3"/>
                  <c:y val="-1.32939438700147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C4-4786-B2BB-B853BCDC54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59</c:v>
                </c:pt>
                <c:pt idx="1">
                  <c:v>23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BC4-4786-B2BB-B853BCDC54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394487510766579E-2"/>
          <c:y val="9.0472673559822747E-2"/>
          <c:w val="0.95521102497846688"/>
          <c:h val="0.8190546528803545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36E-4E66-84AD-A5F2715FD6D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6E-4E66-84AD-A5F2715FD6D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36E-4E66-84AD-A5F2715FD6D8}"/>
              </c:ext>
            </c:extLst>
          </c:dPt>
          <c:dLbls>
            <c:dLbl>
              <c:idx val="0"/>
              <c:layout>
                <c:manualLayout>
                  <c:x val="9.0439276485788107E-3"/>
                  <c:y val="5.53914327917282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6E-4E66-84AD-A5F2715FD6D8}"/>
                </c:ext>
              </c:extLst>
            </c:dLbl>
            <c:dLbl>
              <c:idx val="1"/>
              <c:layout>
                <c:manualLayout>
                  <c:x val="-9.0439276485788107E-3"/>
                  <c:y val="-3.323485967503692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6E-4E66-84AD-A5F2715FD6D8}"/>
                </c:ext>
              </c:extLst>
            </c:dLbl>
            <c:dLbl>
              <c:idx val="2"/>
              <c:layout>
                <c:manualLayout>
                  <c:x val="-6.029285099052541E-3"/>
                  <c:y val="-2.73264401772525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6E-4E66-84AD-A5F2715FD6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0</c:v>
                </c:pt>
                <c:pt idx="1">
                  <c:v>24</c:v>
                </c:pt>
                <c:pt idx="2">
                  <c:v>6.000000000000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6E-4E66-84AD-A5F2715FD6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BAFC01-88E7-47E4-A7B1-69B11ED62F03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2AF99-1761-4AF2-A052-E50A68AA9D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6974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9112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981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12146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19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15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3010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9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0621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3.xml"/><Relationship Id="rId19" Type="http://schemas.openxmlformats.org/officeDocument/2006/relationships/chart" Target="../charts/chart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1737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percent, percentage, doughnut, doughnuts, donut, donuts, pies, percent, percentage, comment</a:t>
            </a:r>
          </a:p>
        </p:txBody>
      </p:sp>
      <p:graphicFrame>
        <p:nvGraphicFramePr>
          <p:cNvPr id="24" name="Chart 3">
            <a:extLst>
              <a:ext uri="{FF2B5EF4-FFF2-40B4-BE49-F238E27FC236}">
                <a16:creationId xmlns:a16="http://schemas.microsoft.com/office/drawing/2014/main" id="{2CC8B8E8-BD21-4AF7-9AFF-65CCBE6992B5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500063" y="1511300"/>
          <a:ext cx="368617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036" name="Text Placeholder 2">
            <a:extLst>
              <a:ext uri="{FF2B5EF4-FFF2-40B4-BE49-F238E27FC236}">
                <a16:creationId xmlns:a16="http://schemas.microsoft.com/office/drawing/2014/main" id="{253F5977-368F-6F9E-00E9-5181D38A00E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944687" y="3554413"/>
            <a:ext cx="800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erman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40FFFF0E-F18F-4D78-9F7F-67C53963A322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4371975" y="1511300"/>
          <a:ext cx="368617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095" name="Text Placeholder 2">
            <a:extLst>
              <a:ext uri="{FF2B5EF4-FFF2-40B4-BE49-F238E27FC236}">
                <a16:creationId xmlns:a16="http://schemas.microsoft.com/office/drawing/2014/main" id="{CBA9BA9E-EBFB-4128-E7DD-1435F2A0621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51488" y="3554413"/>
            <a:ext cx="1328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lobal averag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67" name="Rectangle 1166">
            <a:extLst>
              <a:ext uri="{FF2B5EF4-FFF2-40B4-BE49-F238E27FC236}">
                <a16:creationId xmlns:a16="http://schemas.microsoft.com/office/drawing/2014/main" id="{F1F68E92-F279-2B33-002C-FC29B69F69F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01875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28" name="Rectangle 1127">
            <a:extLst>
              <a:ext uri="{FF2B5EF4-FFF2-40B4-BE49-F238E27FC236}">
                <a16:creationId xmlns:a16="http://schemas.microsoft.com/office/drawing/2014/main" id="{0341EAB5-A39A-29B0-A518-5CBD29C9A0F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01875" y="604202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29" name="Rectangle 1128">
            <a:extLst>
              <a:ext uri="{FF2B5EF4-FFF2-40B4-BE49-F238E27FC236}">
                <a16:creationId xmlns:a16="http://schemas.microsoft.com/office/drawing/2014/main" id="{79F2A17F-D7B1-9FB8-CE35-61F74BAB09E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070350" y="577850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64" name="Text Placeholder 2">
            <a:extLst>
              <a:ext uri="{FF2B5EF4-FFF2-40B4-BE49-F238E27FC236}">
                <a16:creationId xmlns:a16="http://schemas.microsoft.com/office/drawing/2014/main" id="{B8175FA2-A919-645B-C456-491E50F1FE5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03500" y="5773738"/>
            <a:ext cx="719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0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03500" y="6037263"/>
            <a:ext cx="1365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1065" name="Text Placeholder 2">
            <a:extLst>
              <a:ext uri="{FF2B5EF4-FFF2-40B4-BE49-F238E27FC236}">
                <a16:creationId xmlns:a16="http://schemas.microsoft.com/office/drawing/2014/main" id="{7B0079BE-F7ED-F815-F392-0876004F941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71974" y="5773738"/>
            <a:ext cx="1049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5B8C4B27-88F0-7ED3-8B11-52A002B8F85D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56C28DD8-4F85-E624-CFFE-E1C769789F45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CEAC5BE4-C590-3DBE-28F9-2684E00C25B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t_title</a:t>
              </a: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6" name="tc_columnheadline">
              <a:extLst>
                <a:ext uri="{FF2B5EF4-FFF2-40B4-BE49-F238E27FC236}">
                  <a16:creationId xmlns:a16="http://schemas.microsoft.com/office/drawing/2014/main" id="{CCE195BC-D310-71B6-ACD4-3FBB0635ACC7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tc_columnheader">
            <a:extLst>
              <a:ext uri="{FF2B5EF4-FFF2-40B4-BE49-F238E27FC236}">
                <a16:creationId xmlns:a16="http://schemas.microsoft.com/office/drawing/2014/main" id="{A01571F0-8A8D-54EE-F2B2-0D353D2AAFAC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8" name="tc_columnhead">
              <a:extLst>
                <a:ext uri="{FF2B5EF4-FFF2-40B4-BE49-F238E27FC236}">
                  <a16:creationId xmlns:a16="http://schemas.microsoft.com/office/drawing/2014/main" id="{B32B4AC1-886E-012F-9871-E01EB2B9CBA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9" name="tc_columnheadline">
              <a:extLst>
                <a:ext uri="{FF2B5EF4-FFF2-40B4-BE49-F238E27FC236}">
                  <a16:creationId xmlns:a16="http://schemas.microsoft.com/office/drawing/2014/main" id="{433E47A5-92AC-A7BB-BACB-7EE05EC01DC7}"/>
                </a:ext>
              </a:extLst>
            </p:cNvPr>
            <p:cNvCxnSpPr>
              <a:cxnSpLocks/>
              <a:stCxn id="8" idx="4"/>
              <a:endCxn id="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8">
            <a:extLst>
              <a:ext uri="{FF2B5EF4-FFF2-40B4-BE49-F238E27FC236}">
                <a16:creationId xmlns:a16="http://schemas.microsoft.com/office/drawing/2014/main" id="{FE259E8D-0773-A8F7-701E-12845607992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wo think-cell doughnut chart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a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a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463F63D-CEE8-4A16-A783-14C1C0E89641}"/>
              </a:ext>
            </a:extLst>
          </p:cNvPr>
          <p:cNvSpPr txBox="1"/>
          <p:nvPr/>
        </p:nvSpPr>
        <p:spPr>
          <a:xfrm>
            <a:off x="5421312" y="1027416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1792160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JS_pjPMsTyO3Gml4GT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gj0vG11jJpmKSXgs0H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MGb.WoqyL7v23i7qoA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kmUnO8qmOZefsZDH5T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0EAjzsLaMNAsrp1x2H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483.IpjL7_LKVzS2Ie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7VSxFw7EilmCrhDhlF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mf28rNlg4JUrxjk8x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E._BRtrIJM8OkWdpU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DRcye.B8nWerRFo9CB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9FJDQ_HS_UyOBpRRAvO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2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15:08Z</dcterms:created>
  <dcterms:modified xsi:type="dcterms:W3CDTF">2025-09-10T07:16:24Z</dcterms:modified>
</cp:coreProperties>
</file>